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52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52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96DD7DB9-A86F-47DA-BCFF-92BB0C7950AF}"/>
    <pc:docChg chg="modSld">
      <pc:chgData name="Weigel Stefan (PAR-EPS)" userId="fd3b2067-2981-4ad8-bf3a-d2e1004e4fa8" providerId="ADAL" clId="{96DD7DB9-A86F-47DA-BCFF-92BB0C7950AF}" dt="2025-02-22T10:44:43.953" v="8" actId="27918"/>
      <pc:docMkLst>
        <pc:docMk/>
      </pc:docMkLst>
      <pc:sldChg chg="modSp mod">
        <pc:chgData name="Weigel Stefan (PAR-EPS)" userId="fd3b2067-2981-4ad8-bf3a-d2e1004e4fa8" providerId="ADAL" clId="{96DD7DB9-A86F-47DA-BCFF-92BB0C7950AF}" dt="2025-02-22T10:44:43.953" v="8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96DD7DB9-A86F-47DA-BCFF-92BB0C7950AF}" dt="2025-02-22T10:44:14.301" v="2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6DD7DB9-A86F-47DA-BCFF-92BB0C7950AF}" dt="2025-02-22T10:44:10.982" v="0" actId="1076"/>
          <ac:spMkLst>
            <pc:docMk/>
            <pc:sldMk cId="2624746743" sldId="403"/>
            <ac:spMk id="4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C22B620E-282B-4489-BDAF-E4C660329CE7}"/>
    <pc:docChg chg="undo custSel modSld">
      <pc:chgData name="Weigel Stefan (PAR-EPS)" userId="fd3b2067-2981-4ad8-bf3a-d2e1004e4fa8" providerId="ADAL" clId="{C22B620E-282B-4489-BDAF-E4C660329CE7}" dt="2024-02-28T13:28:27.910" v="32" actId="20577"/>
      <pc:docMkLst>
        <pc:docMk/>
      </pc:docMkLst>
      <pc:sldChg chg="modSp mod">
        <pc:chgData name="Weigel Stefan (PAR-EPS)" userId="fd3b2067-2981-4ad8-bf3a-d2e1004e4fa8" providerId="ADAL" clId="{C22B620E-282B-4489-BDAF-E4C660329CE7}" dt="2024-02-28T13:28:27.910" v="32" actId="20577"/>
        <pc:sldMkLst>
          <pc:docMk/>
          <pc:sldMk cId="2624746743" sldId="403"/>
        </pc:sldMkLst>
        <pc:spChg chg="mod">
          <ac:chgData name="Weigel Stefan (PAR-EPS)" userId="fd3b2067-2981-4ad8-bf3a-d2e1004e4fa8" providerId="ADAL" clId="{C22B620E-282B-4489-BDAF-E4C660329CE7}" dt="2024-02-28T13:26:03.959" v="2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6:10.809" v="3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7:08.227" v="13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8:27.910" v="32" actId="20577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C22B620E-282B-4489-BDAF-E4C660329CE7}" dt="2024-02-28T13:28:04.876" v="28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C22B620E-282B-4489-BDAF-E4C660329CE7}" dt="2024-02-28T13:27:56.519" v="27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6AE3F234-52CA-4C52-AC1A-5D7DBF1F611D}"/>
    <pc:docChg chg="modSld">
      <pc:chgData name="Weigel Stefan (PAR-EPS)" userId="fd3b2067-2981-4ad8-bf3a-d2e1004e4fa8" providerId="ADAL" clId="{6AE3F234-52CA-4C52-AC1A-5D7DBF1F611D}" dt="2024-04-10T09:18:37.049" v="55" actId="1037"/>
      <pc:docMkLst>
        <pc:docMk/>
      </pc:docMkLst>
      <pc:sldChg chg="modSp mod setBg">
        <pc:chgData name="Weigel Stefan (PAR-EPS)" userId="fd3b2067-2981-4ad8-bf3a-d2e1004e4fa8" providerId="ADAL" clId="{6AE3F234-52CA-4C52-AC1A-5D7DBF1F611D}" dt="2024-04-10T09:18:37.049" v="55" actId="1037"/>
        <pc:sldMkLst>
          <pc:docMk/>
          <pc:sldMk cId="2624746743" sldId="403"/>
        </pc:sldMkLst>
        <pc:spChg chg="mod">
          <ac:chgData name="Weigel Stefan (PAR-EPS)" userId="fd3b2067-2981-4ad8-bf3a-d2e1004e4fa8" providerId="ADAL" clId="{6AE3F234-52CA-4C52-AC1A-5D7DBF1F611D}" dt="2024-04-10T09:17:08.892" v="2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6AE3F234-52CA-4C52-AC1A-5D7DBF1F611D}" dt="2024-04-10T09:17:44.191" v="10" actId="20577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6AE3F234-52CA-4C52-AC1A-5D7DBF1F611D}" dt="2024-04-10T09:18:37.049" v="55" actId="1037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6AE3F234-52CA-4C52-AC1A-5D7DBF1F611D}" dt="2024-04-10T09:18:30.714" v="49" actId="103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6AE3F234-52CA-4C52-AC1A-5D7DBF1F611D}" dt="2024-04-10T09:18:11.821" v="16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6AE3F234-52CA-4C52-AC1A-5D7DBF1F611D}" dt="2024-04-10T09:18:04.049" v="14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ercentuale di provenienza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zione e acquisto 16,7 Hz</c:v>
                </c:pt>
                <c:pt idx="1">
                  <c:v>Produzione e acquisto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2276.261</c:v>
                </c:pt>
                <c:pt idx="1">
                  <c:v>686.758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656667878689872"/>
          <c:y val="0.76629281032793894"/>
          <c:w val="0.522757147830196"/>
          <c:h val="8.0890384448766853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ercentuali di utilizzo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4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Esercizio ferroviario FFS</c:v>
                </c:pt>
                <c:pt idx="1">
                  <c:v>Esercizio ferroviario, altri</c:v>
                </c:pt>
                <c:pt idx="2">
                  <c:v>Consumo proprio e perdite</c:v>
                </c:pt>
                <c:pt idx="3">
                  <c:v>Funzionamento pompe</c:v>
                </c:pt>
                <c:pt idx="4">
                  <c:v>Vendita sul mercato e scambio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43.8779999999999</c:v>
                </c:pt>
                <c:pt idx="1">
                  <c:v>270.11500000000001</c:v>
                </c:pt>
                <c:pt idx="2">
                  <c:v>120.003</c:v>
                </c:pt>
                <c:pt idx="3">
                  <c:v>35.104999999999997</c:v>
                </c:pt>
                <c:pt idx="4">
                  <c:v>493.90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42213482325211132"/>
          <c:h val="0.194061844907431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lettrica per l’esercizio ferroviario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5092208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063455094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</a:t>
            </a: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di </a:t>
            </a: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venienza</a:t>
            </a:r>
            <a:endParaRPr kumimoji="0" lang="de-CH" sz="11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</a:t>
            </a: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di utilizzo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793372" y="6455861"/>
            <a:ext cx="103307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In </a:t>
            </a: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ermini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</a:t>
            </a: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etti</a:t>
            </a:r>
            <a:endParaRPr kumimoji="0" lang="de-CH" sz="11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62037" y="542669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0B16B9-95F8-48DF-AF13-3887AAA650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ergia elettrica per l’esercizio ferroviario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a elettrica per l’esercizio ferroviario nel 2024.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5-02-24T12:5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